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412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16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844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0C0C0"/>
    <a:srgbClr val="F6F6F6"/>
    <a:srgbClr val="D9D9D9"/>
    <a:srgbClr val="BDBDBD"/>
    <a:srgbClr val="727272"/>
    <a:srgbClr val="E5E5E5"/>
    <a:srgbClr val="444444"/>
    <a:srgbClr val="EB0000"/>
    <a:srgbClr val="C60018"/>
    <a:srgbClr val="A2001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9" d="100"/>
          <a:sy n="119" d="100"/>
        </p:scale>
        <p:origin x="156" y="114"/>
      </p:cViewPr>
      <p:guideLst>
        <p:guide orient="horz" pos="3816"/>
        <p:guide pos="937"/>
        <p:guide pos="6743"/>
        <p:guide orient="horz" pos="1185"/>
        <p:guide pos="7333"/>
        <p:guide orient="horz" pos="3702"/>
        <p:guide orient="horz" pos="640"/>
        <p:guide pos="1844"/>
        <p:guide orient="horz" pos="3770"/>
        <p:guide orient="horz" pos="14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S)" userId="fd3b2067-2981-4ad8-bf3a-d2e1004e4fa8" providerId="ADAL" clId="{DA0FFA84-692C-41CD-BE82-7B5F572D36F5}"/>
    <pc:docChg chg="modSld">
      <pc:chgData name="Weigel Stefan (PAR-ES)" userId="fd3b2067-2981-4ad8-bf3a-d2e1004e4fa8" providerId="ADAL" clId="{DA0FFA84-692C-41CD-BE82-7B5F572D36F5}" dt="2023-06-05T14:26:57.051" v="72" actId="6549"/>
      <pc:docMkLst>
        <pc:docMk/>
      </pc:docMkLst>
      <pc:sldChg chg="modSp mod">
        <pc:chgData name="Weigel Stefan (PAR-ES)" userId="fd3b2067-2981-4ad8-bf3a-d2e1004e4fa8" providerId="ADAL" clId="{DA0FFA84-692C-41CD-BE82-7B5F572D36F5}" dt="2023-06-05T14:26:57.051" v="72" actId="6549"/>
        <pc:sldMkLst>
          <pc:docMk/>
          <pc:sldMk cId="2378578510" sldId="412"/>
        </pc:sldMkLst>
        <pc:spChg chg="mod">
          <ac:chgData name="Weigel Stefan (PAR-ES)" userId="fd3b2067-2981-4ad8-bf3a-d2e1004e4fa8" providerId="ADAL" clId="{DA0FFA84-692C-41CD-BE82-7B5F572D36F5}" dt="2023-06-05T14:09:45.222" v="11" actId="20577"/>
          <ac:spMkLst>
            <pc:docMk/>
            <pc:sldMk cId="2378578510" sldId="412"/>
            <ac:spMk id="2" creationId="{00000000-0000-0000-0000-000000000000}"/>
          </ac:spMkLst>
        </pc:spChg>
        <pc:spChg chg="mod">
          <ac:chgData name="Weigel Stefan (PAR-ES)" userId="fd3b2067-2981-4ad8-bf3a-d2e1004e4fa8" providerId="ADAL" clId="{DA0FFA84-692C-41CD-BE82-7B5F572D36F5}" dt="2023-06-05T14:09:57.505" v="13" actId="20577"/>
          <ac:spMkLst>
            <pc:docMk/>
            <pc:sldMk cId="2378578510" sldId="412"/>
            <ac:spMk id="10" creationId="{7C1F5462-CEF0-4F61-8CF0-966B6E3CE5FA}"/>
          </ac:spMkLst>
        </pc:spChg>
        <pc:spChg chg="mod">
          <ac:chgData name="Weigel Stefan (PAR-ES)" userId="fd3b2067-2981-4ad8-bf3a-d2e1004e4fa8" providerId="ADAL" clId="{DA0FFA84-692C-41CD-BE82-7B5F572D36F5}" dt="2023-06-05T14:26:57.051" v="72" actId="6549"/>
          <ac:spMkLst>
            <pc:docMk/>
            <pc:sldMk cId="2378578510" sldId="412"/>
            <ac:spMk id="11" creationId="{CAAD78FC-EBAB-42C7-8FC8-FD065083F070}"/>
          </ac:spMkLst>
        </pc:spChg>
      </pc:sldChg>
    </pc:docChg>
  </pc:docChgLst>
  <pc:docChgLst>
    <pc:chgData name="Weigel Stefan (PAR-ES)" userId="fd3b2067-2981-4ad8-bf3a-d2e1004e4fa8" providerId="ADAL" clId="{C33823CC-8C54-4D38-AE0F-1937C6FCF159}"/>
    <pc:docChg chg="undo custSel modSld">
      <pc:chgData name="Weigel Stefan (PAR-ES)" userId="fd3b2067-2981-4ad8-bf3a-d2e1004e4fa8" providerId="ADAL" clId="{C33823CC-8C54-4D38-AE0F-1937C6FCF159}" dt="2022-12-08T15:39:35.006" v="100" actId="20577"/>
      <pc:docMkLst>
        <pc:docMk/>
      </pc:docMkLst>
      <pc:sldChg chg="addSp delSp modSp mod">
        <pc:chgData name="Weigel Stefan (PAR-ES)" userId="fd3b2067-2981-4ad8-bf3a-d2e1004e4fa8" providerId="ADAL" clId="{C33823CC-8C54-4D38-AE0F-1937C6FCF159}" dt="2022-12-08T15:39:35.006" v="100" actId="20577"/>
        <pc:sldMkLst>
          <pc:docMk/>
          <pc:sldMk cId="2378578510" sldId="412"/>
        </pc:sldMkLst>
        <pc:spChg chg="mod">
          <ac:chgData name="Weigel Stefan (PAR-ES)" userId="fd3b2067-2981-4ad8-bf3a-d2e1004e4fa8" providerId="ADAL" clId="{C33823CC-8C54-4D38-AE0F-1937C6FCF159}" dt="2022-12-08T15:17:25.967" v="23" actId="20577"/>
          <ac:spMkLst>
            <pc:docMk/>
            <pc:sldMk cId="2378578510" sldId="412"/>
            <ac:spMk id="2" creationId="{00000000-0000-0000-0000-000000000000}"/>
          </ac:spMkLst>
        </pc:spChg>
        <pc:spChg chg="add del mod">
          <ac:chgData name="Weigel Stefan (PAR-ES)" userId="fd3b2067-2981-4ad8-bf3a-d2e1004e4fa8" providerId="ADAL" clId="{C33823CC-8C54-4D38-AE0F-1937C6FCF159}" dt="2022-12-08T15:25:03.064" v="66"/>
          <ac:spMkLst>
            <pc:docMk/>
            <pc:sldMk cId="2378578510" sldId="412"/>
            <ac:spMk id="3" creationId="{33849BC8-3E53-44EC-12E2-0C65E9291855}"/>
          </ac:spMkLst>
        </pc:spChg>
        <pc:spChg chg="mod">
          <ac:chgData name="Weigel Stefan (PAR-ES)" userId="fd3b2067-2981-4ad8-bf3a-d2e1004e4fa8" providerId="ADAL" clId="{C33823CC-8C54-4D38-AE0F-1937C6FCF159}" dt="2022-12-08T15:19:56.620" v="60" actId="20577"/>
          <ac:spMkLst>
            <pc:docMk/>
            <pc:sldMk cId="2378578510" sldId="412"/>
            <ac:spMk id="10" creationId="{7C1F5462-CEF0-4F61-8CF0-966B6E3CE5FA}"/>
          </ac:spMkLst>
        </pc:spChg>
        <pc:spChg chg="mod">
          <ac:chgData name="Weigel Stefan (PAR-ES)" userId="fd3b2067-2981-4ad8-bf3a-d2e1004e4fa8" providerId="ADAL" clId="{C33823CC-8C54-4D38-AE0F-1937C6FCF159}" dt="2022-12-08T15:39:35.006" v="100" actId="20577"/>
          <ac:spMkLst>
            <pc:docMk/>
            <pc:sldMk cId="2378578510" sldId="412"/>
            <ac:spMk id="11" creationId="{CAAD78FC-EBAB-42C7-8FC8-FD065083F070}"/>
          </ac:spMkLst>
        </pc:spChg>
        <pc:graphicFrameChg chg="add del mod modGraphic">
          <ac:chgData name="Weigel Stefan (PAR-ES)" userId="fd3b2067-2981-4ad8-bf3a-d2e1004e4fa8" providerId="ADAL" clId="{C33823CC-8C54-4D38-AE0F-1937C6FCF159}" dt="2022-12-08T15:27:43.435" v="78" actId="478"/>
          <ac:graphicFrameMkLst>
            <pc:docMk/>
            <pc:sldMk cId="2378578510" sldId="412"/>
            <ac:graphicFrameMk id="5" creationId="{AB0D12E6-D536-DBD1-BB54-BB39F1274B8E}"/>
          </ac:graphicFrameMkLst>
        </pc:graphicFrameChg>
        <pc:graphicFrameChg chg="mod">
          <ac:chgData name="Weigel Stefan (PAR-ES)" userId="fd3b2067-2981-4ad8-bf3a-d2e1004e4fa8" providerId="ADAL" clId="{C33823CC-8C54-4D38-AE0F-1937C6FCF159}" dt="2022-12-08T15:26:11.137" v="73"/>
          <ac:graphicFrameMkLst>
            <pc:docMk/>
            <pc:sldMk cId="2378578510" sldId="412"/>
            <ac:graphicFrameMk id="9" creationId="{00000000-0000-0000-0000-000000000000}"/>
          </ac:graphicFrameMkLst>
        </pc:graphicFrameChg>
      </pc:sldChg>
    </pc:docChg>
  </pc:docChgLst>
  <pc:docChgLst>
    <pc:chgData name="Weigel Stefan (PAR-ES)" userId="fd3b2067-2981-4ad8-bf3a-d2e1004e4fa8" providerId="ADAL" clId="{A960615E-EB95-4422-B313-59381D4A110F}"/>
    <pc:docChg chg="modSld">
      <pc:chgData name="Weigel Stefan (PAR-ES)" userId="fd3b2067-2981-4ad8-bf3a-d2e1004e4fa8" providerId="ADAL" clId="{A960615E-EB95-4422-B313-59381D4A110F}" dt="2023-06-05T14:07:36.831" v="65" actId="20577"/>
      <pc:docMkLst>
        <pc:docMk/>
      </pc:docMkLst>
      <pc:sldChg chg="modSp mod">
        <pc:chgData name="Weigel Stefan (PAR-ES)" userId="fd3b2067-2981-4ad8-bf3a-d2e1004e4fa8" providerId="ADAL" clId="{A960615E-EB95-4422-B313-59381D4A110F}" dt="2023-06-05T14:07:36.831" v="65" actId="20577"/>
        <pc:sldMkLst>
          <pc:docMk/>
          <pc:sldMk cId="2378578510" sldId="412"/>
        </pc:sldMkLst>
        <pc:spChg chg="mod">
          <ac:chgData name="Weigel Stefan (PAR-ES)" userId="fd3b2067-2981-4ad8-bf3a-d2e1004e4fa8" providerId="ADAL" clId="{A960615E-EB95-4422-B313-59381D4A110F}" dt="2023-06-05T13:49:57.448" v="1" actId="20577"/>
          <ac:spMkLst>
            <pc:docMk/>
            <pc:sldMk cId="2378578510" sldId="412"/>
            <ac:spMk id="2" creationId="{00000000-0000-0000-0000-000000000000}"/>
          </ac:spMkLst>
        </pc:spChg>
        <pc:spChg chg="mod">
          <ac:chgData name="Weigel Stefan (PAR-ES)" userId="fd3b2067-2981-4ad8-bf3a-d2e1004e4fa8" providerId="ADAL" clId="{A960615E-EB95-4422-B313-59381D4A110F}" dt="2023-06-05T14:07:36.831" v="65" actId="20577"/>
          <ac:spMkLst>
            <pc:docMk/>
            <pc:sldMk cId="2378578510" sldId="412"/>
            <ac:spMk id="11" creationId="{CAAD78FC-EBAB-42C7-8FC8-FD065083F070}"/>
          </ac:spMkLst>
        </pc:spChg>
      </pc:sldChg>
    </pc:docChg>
  </pc:docChgLst>
  <pc:docChgLst>
    <pc:chgData name="Weigel Stefan (PAR-EPS)" userId="fd3b2067-2981-4ad8-bf3a-d2e1004e4fa8" providerId="ADAL" clId="{534E35CD-9913-4677-8D8D-06A876F5ED18}"/>
    <pc:docChg chg="modSld">
      <pc:chgData name="Weigel Stefan (PAR-EPS)" userId="fd3b2067-2981-4ad8-bf3a-d2e1004e4fa8" providerId="ADAL" clId="{534E35CD-9913-4677-8D8D-06A876F5ED18}" dt="2024-06-10T12:16:16.277" v="17" actId="27918"/>
      <pc:docMkLst>
        <pc:docMk/>
      </pc:docMkLst>
      <pc:sldChg chg="modSp mod">
        <pc:chgData name="Weigel Stefan (PAR-EPS)" userId="fd3b2067-2981-4ad8-bf3a-d2e1004e4fa8" providerId="ADAL" clId="{534E35CD-9913-4677-8D8D-06A876F5ED18}" dt="2024-06-10T12:16:16.277" v="17" actId="27918"/>
        <pc:sldMkLst>
          <pc:docMk/>
          <pc:sldMk cId="2378578510" sldId="412"/>
        </pc:sldMkLst>
        <pc:spChg chg="mod">
          <ac:chgData name="Weigel Stefan (PAR-EPS)" userId="fd3b2067-2981-4ad8-bf3a-d2e1004e4fa8" providerId="ADAL" clId="{534E35CD-9913-4677-8D8D-06A876F5ED18}" dt="2024-06-10T12:14:48.642" v="1" actId="20577"/>
          <ac:spMkLst>
            <pc:docMk/>
            <pc:sldMk cId="2378578510" sldId="412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534E35CD-9913-4677-8D8D-06A876F5ED18}" dt="2024-06-10T12:14:59.509" v="5" actId="20577"/>
          <ac:spMkLst>
            <pc:docMk/>
            <pc:sldMk cId="2378578510" sldId="412"/>
            <ac:spMk id="11" creationId="{CAAD78FC-EBAB-42C7-8FC8-FD065083F070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0736688667121836"/>
          <c:y val="4.3209984459797866E-2"/>
          <c:w val="0.68332967651412979"/>
          <c:h val="0.6857667002420074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data!$G$1</c:f>
              <c:strCache>
                <c:ptCount val="1"/>
                <c:pt idx="0">
                  <c:v>2023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</c:spPr>
          <c:invertIfNegative val="0"/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1CA-4EBE-982D-7600ECF50D19}"/>
              </c:ext>
            </c:extLst>
          </c:dPt>
          <c:cat>
            <c:strRef>
              <c:f>data!$G$4:$G$15</c:f>
              <c:strCache>
                <c:ptCount val="12"/>
                <c:pt idx="0">
                  <c:v>Biel/Bienne</c:v>
                </c:pt>
                <c:pt idx="1">
                  <c:v>Zürich Hardbrücke</c:v>
                </c:pt>
                <c:pt idx="2">
                  <c:v>Zürich Stadelhofen</c:v>
                </c:pt>
                <c:pt idx="3">
                  <c:v>Olten</c:v>
                </c:pt>
                <c:pt idx="4">
                  <c:v>Genève</c:v>
                </c:pt>
                <c:pt idx="5">
                  <c:v>Zürich Oerlikon</c:v>
                </c:pt>
                <c:pt idx="6">
                  <c:v>Luzern</c:v>
                </c:pt>
                <c:pt idx="7">
                  <c:v>Basel SBB</c:v>
                </c:pt>
                <c:pt idx="8">
                  <c:v>Lausanne</c:v>
                </c:pt>
                <c:pt idx="9">
                  <c:v>Winterthur</c:v>
                </c:pt>
                <c:pt idx="10">
                  <c:v>Bern</c:v>
                </c:pt>
                <c:pt idx="11">
                  <c:v>Zürich HB</c:v>
                </c:pt>
              </c:strCache>
            </c:strRef>
          </c:cat>
          <c:val>
            <c:numRef>
              <c:f>data!$H$4:$H$15</c:f>
              <c:numCache>
                <c:formatCode>#,##0</c:formatCode>
                <c:ptCount val="12"/>
                <c:pt idx="0">
                  <c:v>50788.348130257</c:v>
                </c:pt>
                <c:pt idx="1">
                  <c:v>59139.458787557</c:v>
                </c:pt>
                <c:pt idx="2">
                  <c:v>80430.515989124004</c:v>
                </c:pt>
                <c:pt idx="3">
                  <c:v>80919.956485992006</c:v>
                </c:pt>
                <c:pt idx="4">
                  <c:v>88507.010188442</c:v>
                </c:pt>
                <c:pt idx="5">
                  <c:v>94228.380233599004</c:v>
                </c:pt>
                <c:pt idx="6">
                  <c:v>104413.94504900899</c:v>
                </c:pt>
                <c:pt idx="7">
                  <c:v>105866.530612527</c:v>
                </c:pt>
                <c:pt idx="8">
                  <c:v>105919.77825680999</c:v>
                </c:pt>
                <c:pt idx="9">
                  <c:v>110894.100309484</c:v>
                </c:pt>
                <c:pt idx="10">
                  <c:v>189245.99793238999</c:v>
                </c:pt>
                <c:pt idx="11">
                  <c:v>419626.387743605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1CA-4EBE-982D-7600ECF50D19}"/>
            </c:ext>
          </c:extLst>
        </c:ser>
        <c:ser>
          <c:idx val="1"/>
          <c:order val="1"/>
          <c:tx>
            <c:strRef>
              <c:f>data!$I$1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rgbClr val="C0C0C0"/>
            </a:solidFill>
          </c:spPr>
          <c:invertIfNegative val="0"/>
          <c:val>
            <c:numRef>
              <c:f>data!$I$4:$I$15</c:f>
              <c:numCache>
                <c:formatCode>#,##0</c:formatCode>
                <c:ptCount val="12"/>
                <c:pt idx="0">
                  <c:v>53698.175479514</c:v>
                </c:pt>
                <c:pt idx="1">
                  <c:v>59700.802056528999</c:v>
                </c:pt>
                <c:pt idx="2">
                  <c:v>82830.752326849004</c:v>
                </c:pt>
                <c:pt idx="3">
                  <c:v>82954.724790880995</c:v>
                </c:pt>
                <c:pt idx="4">
                  <c:v>70674.853618659006</c:v>
                </c:pt>
                <c:pt idx="5">
                  <c:v>94691.643828779997</c:v>
                </c:pt>
                <c:pt idx="6">
                  <c:v>97851.399348337</c:v>
                </c:pt>
                <c:pt idx="7">
                  <c:v>110988.370117025</c:v>
                </c:pt>
                <c:pt idx="8">
                  <c:v>102518.160644038</c:v>
                </c:pt>
                <c:pt idx="9">
                  <c:v>109255.123356399</c:v>
                </c:pt>
                <c:pt idx="10">
                  <c:v>206449.596630149</c:v>
                </c:pt>
                <c:pt idx="11">
                  <c:v>471318.048921242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329-4BC0-B2A2-0C7A0E889DD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5"/>
        <c:axId val="139945472"/>
        <c:axId val="139943936"/>
      </c:barChart>
      <c:valAx>
        <c:axId val="139943936"/>
        <c:scaling>
          <c:orientation val="minMax"/>
        </c:scaling>
        <c:delete val="0"/>
        <c:axPos val="b"/>
        <c:majorGridlines/>
        <c:numFmt formatCode="#\ ##0" sourceLinked="0"/>
        <c:majorTickMark val="out"/>
        <c:minorTickMark val="none"/>
        <c:tickLblPos val="nextTo"/>
        <c:spPr>
          <a:ln>
            <a:noFill/>
          </a:ln>
        </c:spPr>
        <c:crossAx val="139945472"/>
        <c:crosses val="autoZero"/>
        <c:crossBetween val="between"/>
        <c:majorUnit val="100000"/>
      </c:valAx>
      <c:catAx>
        <c:axId val="13994547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spPr>
          <a:ln w="9525">
            <a:solidFill>
              <a:srgbClr val="5A5A5A"/>
            </a:solidFill>
          </a:ln>
        </c:spPr>
        <c:crossAx val="139943936"/>
        <c:crosses val="autoZero"/>
        <c:auto val="0"/>
        <c:lblAlgn val="ctr"/>
        <c:lblOffset val="100"/>
        <c:noMultiLvlLbl val="0"/>
      </c:catAx>
    </c:plotArea>
    <c:legend>
      <c:legendPos val="t"/>
      <c:layout>
        <c:manualLayout>
          <c:xMode val="edge"/>
          <c:yMode val="edge"/>
          <c:x val="0.90401307248437723"/>
          <c:y val="1.463918163516585E-2"/>
          <c:w val="9.0333831602720321E-2"/>
          <c:h val="4.4457965088433526E-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10.06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9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theme" Target="../theme/theme3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slideLayout" Target="../slideLayouts/slideLayout87.xml"/><Relationship Id="rId40" Type="http://schemas.openxmlformats.org/officeDocument/2006/relationships/image" Target="../media/image10.emf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  <p:sldLayoutId id="2147483750" r:id="rId3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0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6.xml"/><Relationship Id="rId7" Type="http://schemas.openxmlformats.org/officeDocument/2006/relationships/chart" Target="../charts/chart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A05204AB-07B8-4463-897A-7AAA87D1D0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53" progId="TCLayout.ActiveDocument.1">
                  <p:embed/>
                </p:oleObj>
              </mc:Choice>
              <mc:Fallback>
                <p:oleObj name="think-cell Folie" r:id="rId5" imgW="352" imgH="353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A05204AB-07B8-4463-897A-7AAA87D1D0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D73BCCFE-9C49-4674-8A05-73BACB5E5D6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umbers of passengers using stations in 2023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14525948"/>
              </p:ext>
            </p:extLst>
          </p:nvPr>
        </p:nvGraphicFramePr>
        <p:xfrm>
          <a:off x="388189" y="1652791"/>
          <a:ext cx="11252949" cy="52052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" name="Textfeld 9">
            <a:extLst>
              <a:ext uri="{FF2B5EF4-FFF2-40B4-BE49-F238E27FC236}">
                <a16:creationId xmlns:a16="http://schemas.microsoft.com/office/drawing/2014/main" id="{7C1F5462-CEF0-4F61-8CF0-966B6E3CE5FA}"/>
              </a:ext>
            </a:extLst>
          </p:cNvPr>
          <p:cNvSpPr txBox="1"/>
          <p:nvPr/>
        </p:nvSpPr>
        <p:spPr>
          <a:xfrm>
            <a:off x="1487488" y="1015830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Average number of persons boarding and alighting from trains per working day in comparison to 2018.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CAAD78FC-EBAB-42C7-8FC8-FD065083F070}"/>
              </a:ext>
            </a:extLst>
          </p:cNvPr>
          <p:cNvSpPr txBox="1"/>
          <p:nvPr/>
        </p:nvSpPr>
        <p:spPr>
          <a:xfrm>
            <a:off x="1487488" y="6106515"/>
            <a:ext cx="8029575" cy="461665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The 12 most frequented stations are shown, taking into account the passengers boarding and alighting from the trains; Zürich HB: excluding SZU; Bern: excluding RBS; Basel SBB and Genève: passengers boarding and alighting to/from abroad are only partially recorded; Zürich Stadelhofen: excluding FB; Biel/Bienne: excluding ASM. Reference: timetable years 2018 and 2023.</a:t>
            </a:r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39770BBD-8851-4CD7-9A78-C7E91EAFC8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875749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23785785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XLvQNESZ6lzyxrEfKKjQ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f009240c06d823fa9e5067539a33b6c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44a221af132cb57b1a13d5397cbea3a0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915E158-F398-42BF-8A91-7C2A147B9234}">
  <ds:schemaRefs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schemas.microsoft.com/office/2006/metadata/properties"/>
    <ds:schemaRef ds:uri="http://purl.org/dc/elements/1.1/"/>
    <ds:schemaRef ds:uri="96e82a89-ba48-4728-b345-cf206dbec8f1"/>
    <ds:schemaRef ds:uri="http://schemas.openxmlformats.org/package/2006/metadata/core-properties"/>
    <ds:schemaRef ds:uri="2f5c8543-cf23-4718-a3b8-32b0a91d511a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82037C41-E52B-40EF-8520-DE2B5EBED10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14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Numbers of passengers using stations in 2023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umbers of passengers using stations in 2023.</dc:title>
  <dc:creator>Meyer Raphael (KOM-PGA-VSF)</dc:creator>
  <cp:lastModifiedBy>Stefan Weigel (PAR-EPS)</cp:lastModifiedBy>
  <cp:revision>57</cp:revision>
  <dcterms:created xsi:type="dcterms:W3CDTF">2020-09-30T11:00:09Z</dcterms:created>
  <dcterms:modified xsi:type="dcterms:W3CDTF">2024-06-10T12:23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